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86" d="100"/>
          <a:sy n="86" d="100"/>
        </p:scale>
        <p:origin x="562" y="-7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7/04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7/04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ohit1045-git" TargetMode="External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drive.google.com/file/d/1R5nvvMkM-2lJjD8OJmqumQUOJ6FrJSrB/view?usp=sharing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720344"/>
          </a:xfrm>
        </p:spPr>
        <p:txBody>
          <a:bodyPr>
            <a:noAutofit/>
          </a:bodyPr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 Deals and Coupons Finder App Web Application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Completed end to end case study of Deals and Coupons Finder App along with JWT authentication, Swagger and payment testing using Spring Boot and MEAN Stack.</a:t>
            </a:r>
            <a:r>
              <a:rPr lang="en-US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Material-UI and Bootstrap used for user interface.</a:t>
            </a:r>
            <a:endParaRPr lang="en-US" alt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Backend (MongoDB), Midware (Spring Boot) and Frontend (Angular)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ed and recompiled all concepts of the backend, midware and frontend to polish my skills to work on real –time projects. </a:t>
            </a:r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>
                <a:solidFill>
                  <a:srgbClr val="0000FF"/>
                </a:solidFill>
              </a:rPr>
              <a:t> </a:t>
            </a:r>
            <a:endParaRPr lang="en-IN" altLang="en-US" dirty="0"/>
          </a:p>
          <a:p>
            <a:pPr eaLnBrk="1" hangingPunct="1">
              <a:lnSpc>
                <a:spcPct val="114000"/>
              </a:lnSpc>
            </a:pPr>
            <a:r>
              <a:rPr lang="en-US" altLang="nl-NL" dirty="0">
                <a:solidFill>
                  <a:srgbClr val="0000FF"/>
                </a:solidFill>
              </a:rPr>
              <a:t> </a:t>
            </a: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Intern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3706" y="1363663"/>
            <a:ext cx="2374900" cy="295275"/>
          </a:xfrm>
        </p:spPr>
        <p:txBody>
          <a:bodyPr/>
          <a:lstStyle/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6956" y="1605434"/>
            <a:ext cx="2606551" cy="269876"/>
          </a:xfrm>
        </p:spPr>
        <p:txBody>
          <a:bodyPr/>
          <a:lstStyle/>
          <a:p>
            <a:pPr eaLnBrk="1" hangingPunct="1"/>
            <a:r>
              <a:rPr lang="nl-NL" altLang="nl-NL" dirty="0"/>
              <a:t>rohitmanapure007@gmail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15222" y="18478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7357589373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35360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eady to learn new technologies and implement them to further improve my knowledge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ager to work in a team of dedicated people and serve a key role in the enhancement and development of the projec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s working knowledge on Angular Framework and Java Microservice Development using Spring framework on an intermediate level.</a:t>
            </a:r>
            <a:br>
              <a:rPr lang="en-US" altLang="nl-NL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nl-NL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Bachelor of Engineering in  Computer Science : 2018 - 2022</a:t>
            </a:r>
          </a:p>
          <a:p>
            <a:pPr eaLnBrk="1" hangingPunct="1">
              <a:lnSpc>
                <a:spcPct val="114000"/>
              </a:lnSpc>
            </a:pP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ava 11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Boot,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pring Security</a:t>
            </a:r>
          </a:p>
          <a:p>
            <a:pPr eaLnBrk="1" hangingPunct="1">
              <a:lnSpc>
                <a:spcPct val="114000"/>
              </a:lnSpc>
            </a:pPr>
            <a:endParaRPr lang="en-US" altLang="en-US" sz="102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 Stack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Angula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deJ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SQL database – MySQ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HTML5 &amp; CSS3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ypescrip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Maven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>
                <a:latin typeface="Arial" panose="020B0604020202020204" pitchFamily="34" charset="0"/>
                <a:cs typeface="Arial" panose="020B0604020202020204" pitchFamily="34" charset="0"/>
              </a:rPr>
              <a:t>Rohit Manapure</a:t>
            </a: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035329" y="6279621"/>
            <a:ext cx="437805" cy="43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705" y="6279621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5" y="1969294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endParaRPr lang="nl-NL" altLang="nl-NL" sz="1100" dirty="0">
              <a:solidFill>
                <a:schemeClr val="bg1"/>
              </a:solidFill>
            </a:endParaRP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4D0990B5-96DE-41A4-9CD6-1BBC032CC973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>
            <a:fillRect/>
          </a:stretch>
        </p:blipFill>
        <p:spPr>
          <a:xfrm>
            <a:off x="353565" y="305520"/>
            <a:ext cx="1637979" cy="1639320"/>
          </a:xfr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2006/documentManagement/types"/>
    <ds:schemaRef ds:uri="fd33c62d-2c11-46e7-88a2-e90fa986d9d0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47da6acf-edf2-43bc-9595-f721a214a14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1212</TotalTime>
  <Words>236</Words>
  <Application>Microsoft Office PowerPoint</Application>
  <PresentationFormat>Widescreen</PresentationFormat>
  <Paragraphs>5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HP</cp:lastModifiedBy>
  <cp:revision>112</cp:revision>
  <dcterms:created xsi:type="dcterms:W3CDTF">2017-12-08T05:27:40Z</dcterms:created>
  <dcterms:modified xsi:type="dcterms:W3CDTF">2022-04-27T04:1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